
<file path=[Content_Types].xml><?xml version="1.0" encoding="utf-8"?>
<Types xmlns="http://schemas.openxmlformats.org/package/2006/content-types">
  <Default Extension="bin" ContentType="application/vnd.openxmlformats-officedocument.oleObject"/>
  <Default Extension="tmp" ContentType="image/png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4" r:id="rId1"/>
    <p:sldMasterId id="2147483694" r:id="rId2"/>
  </p:sldMasterIdLst>
  <p:notesMasterIdLst>
    <p:notesMasterId r:id="rId7"/>
  </p:notesMasterIdLst>
  <p:sldIdLst>
    <p:sldId id="256" r:id="rId3"/>
    <p:sldId id="258" r:id="rId4"/>
    <p:sldId id="259" r:id="rId5"/>
    <p:sldId id="260" r:id="rId6"/>
  </p:sldIdLst>
  <p:sldSz cx="6858000" cy="9906000" type="A4"/>
  <p:notesSz cx="6797675" cy="9926638"/>
  <p:custDataLst>
    <p:tags r:id="rId8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5" autoAdjust="0"/>
    <p:restoredTop sz="94660"/>
  </p:normalViewPr>
  <p:slideViewPr>
    <p:cSldViewPr snapToGrid="0">
      <p:cViewPr varScale="1">
        <p:scale>
          <a:sx n="78" d="100"/>
          <a:sy n="78" d="100"/>
        </p:scale>
        <p:origin x="245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C79B25-0E01-4A23-A4DA-6D9D2866C7AD}" type="datetimeFigureOut">
              <a:rPr lang="da-DK" smtClean="0"/>
              <a:t>13-05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6BCB71-EBDB-4D8F-9B44-EE4B7AD6A8A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41781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tmp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tmp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tmp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tmp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tmp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8.jp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17.bin"/><Relationship Id="rId9" Type="http://schemas.openxmlformats.org/officeDocument/2006/relationships/image" Target="../media/image7.tmp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18.bin"/><Relationship Id="rId9" Type="http://schemas.openxmlformats.org/officeDocument/2006/relationships/image" Target="../media/image7.tmp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5.tmp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tmp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22.bin"/><Relationship Id="rId9" Type="http://schemas.openxmlformats.org/officeDocument/2006/relationships/image" Target="../media/image7.tmp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10.tmp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tmp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tmp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tmp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tmp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tmp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tmp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4.bin"/><Relationship Id="rId9" Type="http://schemas.openxmlformats.org/officeDocument/2006/relationships/image" Target="../media/image7.tmp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tmp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tmp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8.jp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35.bin"/><Relationship Id="rId9" Type="http://schemas.openxmlformats.org/officeDocument/2006/relationships/image" Target="../media/image7.tmp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10" Type="http://schemas.openxmlformats.org/officeDocument/2006/relationships/image" Target="../media/image5.tmp"/><Relationship Id="rId4" Type="http://schemas.openxmlformats.org/officeDocument/2006/relationships/oleObject" Target="../embeddings/oleObject36.bin"/><Relationship Id="rId9" Type="http://schemas.openxmlformats.org/officeDocument/2006/relationships/image" Target="../media/image7.tmp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tmp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tmp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tmp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tmp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282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839" y="505650"/>
            <a:ext cx="1391323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03E13BAB-5C7C-4795-BCD7-574942373617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D307130C-C016-4B55-9A51-5634A17379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48E0A941-A777-4BA8-9ECE-C3A2E6E5B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24" name="Tekstfelt 23">
            <a:extLst>
              <a:ext uri="{FF2B5EF4-FFF2-40B4-BE49-F238E27FC236}">
                <a16:creationId xmlns:a16="http://schemas.microsoft.com/office/drawing/2014/main" id="{D9BE3BBE-EFEB-4A31-89D7-5253CBF58A8B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27996056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29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035459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3472446"/>
            <a:ext cx="5849938" cy="5708947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37A944-D84C-4361-BACB-1328B071C3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504050"/>
            <a:ext cx="5849938" cy="496076"/>
          </a:xfrm>
        </p:spPr>
        <p:txBody>
          <a:bodyPr vert="horz">
            <a:normAutofit/>
          </a:bodyPr>
          <a:lstStyle>
            <a:lvl1pPr>
              <a:lnSpc>
                <a:spcPts val="2800"/>
              </a:lnSpc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6C37C9F4-217D-4267-84B3-5BD126B46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1100138"/>
            <a:ext cx="5849938" cy="338137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A331BE00-0F31-4B74-B5D6-850DDD62F8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000" y="1516380"/>
            <a:ext cx="5849938" cy="1006158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buFont typeface="Arial" panose="020B0604020202020204" pitchFamily="34" charset="0"/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E703BC2A-C2EE-40BA-99F1-D8AA19ECE83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B1F5CF47-CDBD-488E-B377-645EF45B38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0419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2 spalter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831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72563361-28D5-46BD-A43D-357B2F88C6B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D278588-0917-415C-B412-786CFC53E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97117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Tekst i en spalte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8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4A020C03-93CE-4A83-BBAB-687D63EF000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BCC64E1-4344-47CC-A1C0-10258D55BED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83794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5840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80E9C4-C9B9-4BCE-9A60-9D98A131D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657" y="495300"/>
            <a:ext cx="5849938" cy="2530475"/>
          </a:xfrm>
        </p:spPr>
        <p:txBody>
          <a:bodyPr vert="horz">
            <a:normAutofit/>
          </a:bodyPr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evt. </a:t>
            </a:r>
            <a:r>
              <a:rPr lang="da-DK" dirty="0" err="1"/>
              <a:t>citalt</a:t>
            </a:r>
            <a:endParaRPr lang="da-DK" dirty="0"/>
          </a:p>
        </p:txBody>
      </p:sp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886200"/>
            <a:ext cx="2668588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7" y="4330701"/>
            <a:ext cx="2668588" cy="4057650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16" name="Pladsholder til billede 15">
            <a:extLst>
              <a:ext uri="{FF2B5EF4-FFF2-40B4-BE49-F238E27FC236}">
                <a16:creationId xmlns:a16="http://schemas.microsoft.com/office/drawing/2014/main" id="{35FCA422-C927-48E6-89C3-61F5AB433DC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693428" y="3886200"/>
            <a:ext cx="2668588" cy="34861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9" name="Pladsholder til tekst 9">
            <a:extLst>
              <a:ext uri="{FF2B5EF4-FFF2-40B4-BE49-F238E27FC236}">
                <a16:creationId xmlns:a16="http://schemas.microsoft.com/office/drawing/2014/main" id="{A1F193D8-2F40-4CBE-B14E-70D42FF9B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93428" y="7479591"/>
            <a:ext cx="2688908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e tekst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34DA6620-B4B5-4834-9824-256E80E8BCE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EABD9DCB-8795-44CC-A2A9-5C1DD660F3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4CAF8641-FAF5-482F-83FB-677DF71AC3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7" name="Tekstfelt 26">
            <a:extLst>
              <a:ext uri="{FF2B5EF4-FFF2-40B4-BE49-F238E27FC236}">
                <a16:creationId xmlns:a16="http://schemas.microsoft.com/office/drawing/2014/main" id="{EFE6F655-56A1-4455-8BBA-A076E2A270BD}"/>
              </a:ext>
            </a:extLst>
          </p:cNvPr>
          <p:cNvSpPr txBox="1"/>
          <p:nvPr userDrawn="1"/>
        </p:nvSpPr>
        <p:spPr>
          <a:xfrm>
            <a:off x="7055626" y="39111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8" name="Billede 27">
            <a:extLst>
              <a:ext uri="{FF2B5EF4-FFF2-40B4-BE49-F238E27FC236}">
                <a16:creationId xmlns:a16="http://schemas.microsoft.com/office/drawing/2014/main" id="{8903A759-5854-48A4-B8C4-897E4251CAA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442846"/>
            <a:ext cx="335584" cy="402701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7ADD1EA-9279-4526-B21A-EDF98E14294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C3334261-7DB5-4DE5-864C-40350063774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233851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43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033594"/>
            <a:ext cx="3916062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6" y="3521676"/>
            <a:ext cx="3916061" cy="5368324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6809754-F9B3-4952-B28D-761D2044B7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42702" y="3521676"/>
            <a:ext cx="1402535" cy="1467837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Note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BCC9752-C44F-4D0B-9666-247C9EC43BF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CBD058A-7A26-4CE3-A97D-7BD1FCF3C7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29AA6244-4A24-4FC1-84F2-16BE75F9F0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204A5E0-8647-487B-B01D-C1C951B8D5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3D435FF-7679-4BFA-84FC-4C1F35A97E8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834326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9_Print selv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48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502920"/>
            <a:ext cx="2933700" cy="16510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8D84E32B-46D3-4421-ADCF-252C16D82432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E60D9E1B-07C4-4D4C-8921-DCB6FB91E25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FD7C64A3-5C28-45F4-9808-43F61310A8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BD290CC3-BF3B-4BCB-8840-11FE70CC788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4A0EE8F-C7C9-476F-99ED-C311789372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27C695C-D80A-4340-A0DD-166914017A97}"/>
              </a:ext>
            </a:extLst>
          </p:cNvPr>
          <p:cNvSpPr txBox="1"/>
          <p:nvPr userDrawn="1"/>
        </p:nvSpPr>
        <p:spPr>
          <a:xfrm>
            <a:off x="7055627" y="15521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9160497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539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2737" y="8895913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281C023D-EF68-4E0B-8580-981BBA67BAAB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BC8971AF-1920-4163-8C15-4FC8847675F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A9E8CBB4-86CF-4C4D-8A2C-36D169F15C7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9CB6E08-6ECF-4EA9-9D47-DCDD35C20CFC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D6301611-367E-4CFD-A8B2-805CBDD97E8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C504E98D-7F5F-4334-BC3E-F810969DD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72882DB6-C774-4F20-B05A-A076F2EABC51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27160216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314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196" y="8895913"/>
            <a:ext cx="1391323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965DC072-D806-4DE3-B2B6-569A0705CB1D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F33FAF50-A11C-4616-A3E0-B6285F85B9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1D9E8B1-2617-451E-BCDC-AE6DC32A43E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5C1BA9AB-8B34-4713-AD18-4BE6985F1505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E8F7D96-83D5-43B6-B6A4-4A2B0F5E633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1A97480C-2C38-4EB4-9ED2-94C9EAAD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AF4366B-F480-43DF-86D9-0DCEF6BC8857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9038564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85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839" y="505650"/>
            <a:ext cx="1391323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03E13BAB-5C7C-4795-BCD7-574942373617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D307130C-C016-4B55-9A51-5634A17379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48E0A941-A777-4BA8-9ECE-C3A2E6E5B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24" name="Tekstfelt 23">
            <a:extLst>
              <a:ext uri="{FF2B5EF4-FFF2-40B4-BE49-F238E27FC236}">
                <a16:creationId xmlns:a16="http://schemas.microsoft.com/office/drawing/2014/main" id="{D9BE3BBE-EFEB-4A31-89D7-5253CBF58A8B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31366033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277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839" y="8887650"/>
            <a:ext cx="1391323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428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8000" y="68929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AC904DAD-B9D8-4856-9B28-975F6BF3014D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679F41B-7C99-4CF2-B7AE-C50E7F2C7F3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881C66E7-9797-4713-A80E-430945910C0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BCBA00D-2CB2-490A-AF23-BB1EE9C6BDAF}"/>
              </a:ext>
            </a:extLst>
          </p:cNvPr>
          <p:cNvSpPr txBox="1"/>
          <p:nvPr userDrawn="1"/>
        </p:nvSpPr>
        <p:spPr>
          <a:xfrm>
            <a:off x="7055627" y="1514475"/>
            <a:ext cx="1914525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Skriftfarv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kanten af tekstboksen, under fanen Hjem, kan du ændre skriftfarve 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E10F6D2A-A0D8-41FF-9B7E-436131E25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55627" y="2067047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14F0F1C7-B7C9-4CC9-9297-0008039AFABA}"/>
              </a:ext>
            </a:extLst>
          </p:cNvPr>
          <p:cNvSpPr txBox="1"/>
          <p:nvPr userDrawn="1"/>
        </p:nvSpPr>
        <p:spPr>
          <a:xfrm>
            <a:off x="7055626" y="89006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785EFEE8-4C7F-46ED-8FB1-5A59EC552C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8000" y="495300"/>
            <a:ext cx="3689350" cy="2476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2162489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888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839" y="8887650"/>
            <a:ext cx="1391323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428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8000" y="68929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AC904DAD-B9D8-4856-9B28-975F6BF3014D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679F41B-7C99-4CF2-B7AE-C50E7F2C7F3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881C66E7-9797-4713-A80E-430945910C0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BCBA00D-2CB2-490A-AF23-BB1EE9C6BDAF}"/>
              </a:ext>
            </a:extLst>
          </p:cNvPr>
          <p:cNvSpPr txBox="1"/>
          <p:nvPr userDrawn="1"/>
        </p:nvSpPr>
        <p:spPr>
          <a:xfrm>
            <a:off x="7055627" y="1514475"/>
            <a:ext cx="1914525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Skriftfarv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kanten af tekstboksen, under fanen Hjem, kan du ændre skriftfarve 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E10F6D2A-A0D8-41FF-9B7E-436131E25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55627" y="2067047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14F0F1C7-B7C9-4CC9-9297-0008039AFABA}"/>
              </a:ext>
            </a:extLst>
          </p:cNvPr>
          <p:cNvSpPr txBox="1"/>
          <p:nvPr userDrawn="1"/>
        </p:nvSpPr>
        <p:spPr>
          <a:xfrm>
            <a:off x="7055626" y="89006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785EFEE8-4C7F-46ED-8FB1-5A59EC552C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8000" y="495300"/>
            <a:ext cx="3689350" cy="2476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3664444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Til try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4606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525EF22-4241-49B2-BE23-CE33D45BEECC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527F2479-2D8B-4EF1-861C-936FDFA402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CB58D782-E2AD-4860-8C5E-37C05727571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83A590A-CEF3-49FB-88DD-B7F23EA08FE3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9523DB2-F932-4FAB-8F2C-225ADE6501C2}"/>
              </a:ext>
            </a:extLst>
          </p:cNvPr>
          <p:cNvSpPr txBox="1"/>
          <p:nvPr userDrawn="1"/>
        </p:nvSpPr>
        <p:spPr>
          <a:xfrm>
            <a:off x="70429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D8FDCD1-C968-4C48-A821-D42307FFD74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584775"/>
            <a:ext cx="304721" cy="193238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5371C10F-6E7D-484C-860D-FC302CA68D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009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Til try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565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A9C45786-B072-426A-91BC-12F768CE36C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34068A2-B414-45B7-892C-23F2A88B0F6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2B3178DA-78FD-433A-93C5-6D1FC036973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32C0A704-B07C-409C-97A8-3F8F10134F5D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403FDC73-63C6-414C-9364-C941558E0B74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6220170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Til try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66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" y="505650"/>
            <a:ext cx="1392242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F0E36EDD-0903-4861-AA21-0174374273DC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CED43425-7139-407E-B0D7-BEA87A3DF7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BF1C071-7E4D-41A8-BA13-D6D8529918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B2CCCC3F-418C-4F7F-944D-6453AB3C7A03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41460A12-BC25-4EF4-8558-FF92D3AF9EDE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37426248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74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4" y="5345113"/>
            <a:ext cx="5849938" cy="1520825"/>
          </a:xfrm>
        </p:spPr>
        <p:txBody>
          <a:bodyPr vert="horz"/>
          <a:lstStyle/>
          <a:p>
            <a:r>
              <a:rPr lang="da-DK" dirty="0"/>
              <a:t>Klik for at redigere titeltypografien i mastere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839" y="505650"/>
            <a:ext cx="1391323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4" y="7375527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C74453FF-55EF-4B85-9E9E-E2524AE744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0834" y="1519238"/>
            <a:ext cx="5840413" cy="3470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0EC41545-31F2-4790-9FBF-D8E0FC81B99E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D387DF33-5A5B-465F-B7C5-5E9B74840ED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F38144E7-5176-4C91-A6D1-32BDED9AB48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6D70737C-83A9-4440-B9FE-EEFEE5D9EDD6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05054E60-DC26-41FA-A91D-15F5D445CC80}"/>
              </a:ext>
            </a:extLst>
          </p:cNvPr>
          <p:cNvSpPr txBox="1"/>
          <p:nvPr userDrawn="1"/>
        </p:nvSpPr>
        <p:spPr>
          <a:xfrm>
            <a:off x="70429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77F8F0F5-4242-475A-9D60-22B19C6AC98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5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0053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0341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FCF736EB-9D69-4B6B-BC80-4D9EBCD74E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650" y="501650"/>
            <a:ext cx="5843588" cy="863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7900" y="787400"/>
            <a:ext cx="2451100" cy="13589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AF4941EA-027A-4D5D-AE44-2F5608489A39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EA326E3-B8CB-4843-A1D4-37D2F06FB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DA3F916-A52E-470F-A8FE-4A555FC46D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D0A73DA-2CA6-44D5-8FC0-1EF128892044}"/>
              </a:ext>
            </a:extLst>
          </p:cNvPr>
          <p:cNvSpPr txBox="1"/>
          <p:nvPr userDrawn="1"/>
        </p:nvSpPr>
        <p:spPr>
          <a:xfrm>
            <a:off x="70556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1ECC8F86-FABD-44A5-BFC0-928731936AB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11239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DEB2AE85-7782-49D5-82BC-B5D41C3563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D70CBBC-E03E-4886-BFA7-1EE5469CC0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85148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528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500380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5077854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988736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6370638"/>
            <a:ext cx="5849938" cy="2519362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B10BCBAE-C569-48CA-889B-B812E521E8C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21FF0AF8-9F52-48D7-B981-0F6B8C675AC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150F6B6D-78FA-41F8-AE49-6978C84FC7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8" name="Tekstfelt 27">
            <a:extLst>
              <a:ext uri="{FF2B5EF4-FFF2-40B4-BE49-F238E27FC236}">
                <a16:creationId xmlns:a16="http://schemas.microsoft.com/office/drawing/2014/main" id="{3FFB0F68-25CE-4848-8197-D3E79E2AA011}"/>
              </a:ext>
            </a:extLst>
          </p:cNvPr>
          <p:cNvSpPr txBox="1"/>
          <p:nvPr userDrawn="1"/>
        </p:nvSpPr>
        <p:spPr>
          <a:xfrm>
            <a:off x="7055626" y="15235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9" name="Billede 28">
            <a:extLst>
              <a:ext uri="{FF2B5EF4-FFF2-40B4-BE49-F238E27FC236}">
                <a16:creationId xmlns:a16="http://schemas.microsoft.com/office/drawing/2014/main" id="{1E6CE144-E233-4F7B-889A-4F1F0C047B5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0552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3115E6F-FEE9-495E-95BD-B3B2CB5F6D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C4A539D-5C36-4756-89CF-FD7592FAB8B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3954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188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4256852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8834326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02320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884222"/>
            <a:ext cx="5849938" cy="272410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442B906-2A5A-4DBF-A76D-49048425EA14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A527A158-5FEE-4787-95F8-73F8B1496F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EEBB8D1D-D041-4F84-98E0-D40F4BB6ECA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18C0437D-0903-482A-B7A1-E94EA4E7CA8C}"/>
              </a:ext>
            </a:extLst>
          </p:cNvPr>
          <p:cNvSpPr txBox="1"/>
          <p:nvPr userDrawn="1"/>
        </p:nvSpPr>
        <p:spPr>
          <a:xfrm>
            <a:off x="7055626" y="42794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4C24EEA2-A8BF-44AA-93AF-0C6D5C1D12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8111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B07FF9A7-2DFC-4E99-A9F1-02DBAD8E8F7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ECEC9C8F-9CD1-42AB-868B-E2B91F58B1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194456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077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035459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3472446"/>
            <a:ext cx="5849938" cy="5708947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37A944-D84C-4361-BACB-1328B071C3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504050"/>
            <a:ext cx="5849938" cy="496076"/>
          </a:xfrm>
        </p:spPr>
        <p:txBody>
          <a:bodyPr vert="horz">
            <a:normAutofit/>
          </a:bodyPr>
          <a:lstStyle>
            <a:lvl1pPr>
              <a:lnSpc>
                <a:spcPts val="2800"/>
              </a:lnSpc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6C37C9F4-217D-4267-84B3-5BD126B46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1100138"/>
            <a:ext cx="5849938" cy="338137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A331BE00-0F31-4B74-B5D6-850DDD62F8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000" y="1516380"/>
            <a:ext cx="5849938" cy="1006158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buFont typeface="Arial" panose="020B0604020202020204" pitchFamily="34" charset="0"/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E4578EE3-CA27-49D1-B14D-21DC479F69F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182B2B64-EA17-4547-BF6B-7A1C592CC22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154972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2 spalter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740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E5887FD-F2EB-4439-A066-4E9B909E7EF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F2E9060-48A0-4CDF-8488-864648DB69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325241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Tekst i en spalte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795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999" y="502311"/>
            <a:ext cx="4684713" cy="399731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000" y="1000126"/>
            <a:ext cx="5849938" cy="8181268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58B29BD-A4E4-410C-96C2-E569288378E3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74A1D62D-AF8E-48D6-9ECE-DC46C5C5C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D8CDF0BF-0BC5-43BD-B44C-DD7651F66A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719D7D1D-E715-4E91-B354-DD92D02D2D3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99AD4AE-CDC8-4813-B83A-2BC6FCB1CA7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41296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316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525EF22-4241-49B2-BE23-CE33D45BEECC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527F2479-2D8B-4EF1-861C-936FDFA402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CB58D782-E2AD-4860-8C5E-37C05727571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83A590A-CEF3-49FB-88DD-B7F23EA08FE3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9523DB2-F932-4FAB-8F2C-225ADE6501C2}"/>
              </a:ext>
            </a:extLst>
          </p:cNvPr>
          <p:cNvSpPr txBox="1"/>
          <p:nvPr userDrawn="1"/>
        </p:nvSpPr>
        <p:spPr>
          <a:xfrm>
            <a:off x="70429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D8FDCD1-C968-4C48-A821-D42307FFD74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584775"/>
            <a:ext cx="304721" cy="193238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5371C10F-6E7D-484C-860D-FC302CA68D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6476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6687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80E9C4-C9B9-4BCE-9A60-9D98A131D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657" y="495300"/>
            <a:ext cx="5849938" cy="2530475"/>
          </a:xfrm>
        </p:spPr>
        <p:txBody>
          <a:bodyPr vert="horz">
            <a:normAutofit/>
          </a:bodyPr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evt. </a:t>
            </a:r>
            <a:r>
              <a:rPr lang="da-DK" dirty="0" err="1"/>
              <a:t>citalt</a:t>
            </a:r>
            <a:endParaRPr lang="da-DK" dirty="0"/>
          </a:p>
        </p:txBody>
      </p:sp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886200"/>
            <a:ext cx="2668588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7" y="4330701"/>
            <a:ext cx="2668588" cy="4057650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16" name="Pladsholder til billede 15">
            <a:extLst>
              <a:ext uri="{FF2B5EF4-FFF2-40B4-BE49-F238E27FC236}">
                <a16:creationId xmlns:a16="http://schemas.microsoft.com/office/drawing/2014/main" id="{35FCA422-C927-48E6-89C3-61F5AB433DC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693428" y="3886200"/>
            <a:ext cx="2668588" cy="3486150"/>
          </a:xfrm>
        </p:spPr>
        <p:txBody>
          <a:bodyPr/>
          <a:lstStyle/>
          <a:p>
            <a:endParaRPr lang="da-DK"/>
          </a:p>
        </p:txBody>
      </p:sp>
      <p:sp>
        <p:nvSpPr>
          <p:cNvPr id="19" name="Pladsholder til tekst 9">
            <a:extLst>
              <a:ext uri="{FF2B5EF4-FFF2-40B4-BE49-F238E27FC236}">
                <a16:creationId xmlns:a16="http://schemas.microsoft.com/office/drawing/2014/main" id="{A1F193D8-2F40-4CBE-B14E-70D42FF9B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93428" y="7479591"/>
            <a:ext cx="2688908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34DA6620-B4B5-4834-9824-256E80E8BCE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EABD9DCB-8795-44CC-A2A9-5C1DD660F3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4CAF8641-FAF5-482F-83FB-677DF71AC3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7" name="Tekstfelt 26">
            <a:extLst>
              <a:ext uri="{FF2B5EF4-FFF2-40B4-BE49-F238E27FC236}">
                <a16:creationId xmlns:a16="http://schemas.microsoft.com/office/drawing/2014/main" id="{EFE6F655-56A1-4455-8BBA-A076E2A270BD}"/>
              </a:ext>
            </a:extLst>
          </p:cNvPr>
          <p:cNvSpPr txBox="1"/>
          <p:nvPr userDrawn="1"/>
        </p:nvSpPr>
        <p:spPr>
          <a:xfrm>
            <a:off x="7055626" y="39111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8" name="Billede 27">
            <a:extLst>
              <a:ext uri="{FF2B5EF4-FFF2-40B4-BE49-F238E27FC236}">
                <a16:creationId xmlns:a16="http://schemas.microsoft.com/office/drawing/2014/main" id="{8903A759-5854-48A4-B8C4-897E4251CAA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442846"/>
            <a:ext cx="335584" cy="402701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CB5D99E-4251-443B-B579-F6BB9F2C4B7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72119E5A-A375-47FD-A7A3-11421ED839D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11010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715E2D-C9CF-4115-B24B-9F49F9E7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294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715E2D-C9CF-4115-B24B-9F49F9E7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A635F235-6BAC-4F80-A8AD-EEACCE93E1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657" y="3033594"/>
            <a:ext cx="3916062" cy="389097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B38E7DA3-29C2-41A3-9554-9352537051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56" y="3521676"/>
            <a:ext cx="3916061" cy="5368324"/>
          </a:xfrm>
        </p:spPr>
        <p:txBody>
          <a:bodyPr numCol="1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Skriv tekst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6809754-F9B3-4952-B28D-761D2044B7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42702" y="3521676"/>
            <a:ext cx="1402535" cy="1467837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Note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4BCC9752-C44F-4D0B-9666-247C9EC43BF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CBD058A-7A26-4CE3-A97D-7BD1FCF3C7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29AA6244-4A24-4FC1-84F2-16BE75F9F0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D5C340EC-F144-4F36-9717-272D99C597A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1AEBE1C-A6CF-4921-984D-84770766BE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660114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9_Til try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439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502920"/>
            <a:ext cx="2933700" cy="16510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e 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8D84E32B-46D3-4421-ADCF-252C16D82432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E60D9E1B-07C4-4D4C-8921-DCB6FB91E25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FD7C64A3-5C28-45F4-9808-43F61310A8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F72D78AC-BACD-4182-95B9-AF99FB64FBF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C299055-1759-4596-8D27-EA1A7B7E71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040F99C2-3851-4279-9EA5-05E73F31808A}"/>
              </a:ext>
            </a:extLst>
          </p:cNvPr>
          <p:cNvSpPr txBox="1"/>
          <p:nvPr userDrawn="1"/>
        </p:nvSpPr>
        <p:spPr>
          <a:xfrm>
            <a:off x="7055627" y="1580736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8810454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_Til try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506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2737" y="8895913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281C023D-EF68-4E0B-8580-981BBA67BAAB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BC8971AF-1920-4163-8C15-4FC8847675F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A9E8CBB4-86CF-4C4D-8A2C-36D169F15C7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9CB6E08-6ECF-4EA9-9D47-DCDD35C20CFC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D6301611-367E-4CFD-A8B2-805CBDD97E8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C504E98D-7F5F-4334-BC3E-F810969DD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72882DB6-C774-4F20-B05A-A076F2EABC51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7699588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632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196" y="8895913"/>
            <a:ext cx="1391323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9050736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737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7" name="Pladsholder til tekst 17">
            <a:extLst>
              <a:ext uri="{FF2B5EF4-FFF2-40B4-BE49-F238E27FC236}">
                <a16:creationId xmlns:a16="http://schemas.microsoft.com/office/drawing/2014/main" id="{E8D4B6A9-7A90-484B-9243-D6213F381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3771" y="506087"/>
            <a:ext cx="2665756" cy="6866263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965DC072-D806-4DE3-B2B6-569A0705CB1D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F33FAF50-A11C-4616-A3E0-B6285F85B9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1D9E8B1-2617-451E-BCDC-AE6DC32A43E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91018"/>
            <a:ext cx="1170798" cy="88484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5C1BA9AB-8B34-4713-AD18-4BE6985F1505}"/>
              </a:ext>
            </a:extLst>
          </p:cNvPr>
          <p:cNvSpPr txBox="1"/>
          <p:nvPr userDrawn="1"/>
        </p:nvSpPr>
        <p:spPr>
          <a:xfrm>
            <a:off x="70429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E8F7D96-83D5-43B6-B6A4-4A2B0F5E633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054" y="2099000"/>
            <a:ext cx="304721" cy="193238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1A97480C-2C38-4EB4-9ED2-94C9EAAD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7042927" y="2454978"/>
            <a:ext cx="1151748" cy="303727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AF4366B-F480-43DF-86D9-0DCEF6BC8857}"/>
              </a:ext>
            </a:extLst>
          </p:cNvPr>
          <p:cNvSpPr txBox="1"/>
          <p:nvPr userDrawn="1"/>
        </p:nvSpPr>
        <p:spPr>
          <a:xfrm>
            <a:off x="7042926" y="88989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40539772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Print selv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552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A9C45786-B072-426A-91BC-12F768CE36CA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34068A2-B414-45B7-892C-23F2A88B0F6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2B3178DA-78FD-433A-93C5-6D1FC036973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32C0A704-B07C-409C-97A8-3F8F10134F5D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2D4C1C68-5796-43A7-A6A0-4708F5FD16C5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2284696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Print selv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kstfelt 18">
            <a:extLst>
              <a:ext uri="{FF2B5EF4-FFF2-40B4-BE49-F238E27FC236}">
                <a16:creationId xmlns:a16="http://schemas.microsoft.com/office/drawing/2014/main" id="{38A0BC56-0558-43E8-93CF-D2DE7B2829F5}"/>
              </a:ext>
            </a:extLst>
          </p:cNvPr>
          <p:cNvSpPr txBox="1"/>
          <p:nvPr userDrawn="1"/>
        </p:nvSpPr>
        <p:spPr>
          <a:xfrm>
            <a:off x="70556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946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2" y="2527618"/>
            <a:ext cx="5849938" cy="1520825"/>
          </a:xfrm>
        </p:spPr>
        <p:txBody>
          <a:bodyPr vert="horz"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80" y="505650"/>
            <a:ext cx="1392242" cy="503999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2" y="7375525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F0E36EDD-0903-4861-AA21-0174374273DC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CED43425-7139-407E-B0D7-BEA87A3DF7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BF1C071-7E4D-41A8-BA13-D6D8529918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7" y="742340"/>
            <a:ext cx="2266173" cy="581429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B2CCCC3F-418C-4F7F-944D-6453AB3C7A03}"/>
              </a:ext>
            </a:extLst>
          </p:cNvPr>
          <p:cNvSpPr txBox="1"/>
          <p:nvPr userDrawn="1"/>
        </p:nvSpPr>
        <p:spPr>
          <a:xfrm>
            <a:off x="70556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94796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9FDF03-D10F-448C-BFEA-4683C4A53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854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9FDF03-D10F-448C-BFEA-4683C4A53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E276AC7-C754-4C00-A162-BCDE31E2B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834" y="5345113"/>
            <a:ext cx="5849938" cy="1520825"/>
          </a:xfrm>
        </p:spPr>
        <p:txBody>
          <a:bodyPr vert="horz"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08A92A97-4B78-4848-AC4E-7EEE826CAE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839" y="505650"/>
            <a:ext cx="1391323" cy="504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B701A443-E6C7-4A5D-BD03-28503C04D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7030" y="648112"/>
            <a:ext cx="2173288" cy="219075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37D2A0E3-7483-4CA2-8522-80BA6809B8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34" y="7375527"/>
            <a:ext cx="4194174" cy="1504950"/>
          </a:xfrm>
        </p:spPr>
        <p:txBody>
          <a:bodyPr/>
          <a:lstStyle>
            <a:lvl1pPr marL="0" indent="0">
              <a:buNone/>
              <a:defRPr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C74453FF-55EF-4B85-9E9E-E2524AE744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0834" y="1519238"/>
            <a:ext cx="5840413" cy="3470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0EC41545-31F2-4790-9FBF-D8E0FC81B99E}"/>
              </a:ext>
            </a:extLst>
          </p:cNvPr>
          <p:cNvSpPr txBox="1"/>
          <p:nvPr userDrawn="1"/>
        </p:nvSpPr>
        <p:spPr>
          <a:xfrm>
            <a:off x="70429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D387DF33-5A5B-465F-B7C5-5E9B74840ED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419" y="208072"/>
            <a:ext cx="468065" cy="139812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F38144E7-5176-4C91-A6D1-32BDED9AB48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27" y="742340"/>
            <a:ext cx="2266173" cy="581429"/>
          </a:xfrm>
          <a:prstGeom prst="rect">
            <a:avLst/>
          </a:prstGeom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6D70737C-83A9-4440-B9FE-EEFEE5D9EDD6}"/>
              </a:ext>
            </a:extLst>
          </p:cNvPr>
          <p:cNvSpPr txBox="1"/>
          <p:nvPr userDrawn="1"/>
        </p:nvSpPr>
        <p:spPr>
          <a:xfrm>
            <a:off x="70429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05054E60-DC26-41FA-A91D-15F5D445CC80}"/>
              </a:ext>
            </a:extLst>
          </p:cNvPr>
          <p:cNvSpPr txBox="1"/>
          <p:nvPr userDrawn="1"/>
        </p:nvSpPr>
        <p:spPr>
          <a:xfrm>
            <a:off x="70429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77F8F0F5-4242-475A-9D60-22B19C6AC98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5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248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291DFC-4205-4F5C-84E1-5390A540C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097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291DFC-4205-4F5C-84E1-5390A540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FCF736EB-9D69-4B6B-BC80-4D9EBCD74E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650" y="501650"/>
            <a:ext cx="5843588" cy="863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D577BFD-92AC-43FC-994B-E0A9B0150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7900" y="787400"/>
            <a:ext cx="2451100" cy="1358900"/>
          </a:xfrm>
        </p:spPr>
        <p:txBody>
          <a:bodyPr/>
          <a:lstStyle>
            <a:lvl1pPr marL="0" indent="0">
              <a:buNone/>
              <a:defRPr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AF4941EA-027A-4D5D-AE44-2F5608489A39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EA326E3-B8CB-4843-A1D4-37D2F06FB2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DA3F916-A52E-470F-A8FE-4A555FC46D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D0A73DA-2CA6-44D5-8FC0-1EF128892044}"/>
              </a:ext>
            </a:extLst>
          </p:cNvPr>
          <p:cNvSpPr txBox="1"/>
          <p:nvPr userDrawn="1"/>
        </p:nvSpPr>
        <p:spPr>
          <a:xfrm>
            <a:off x="70556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1ECC8F86-FABD-44A5-BFC0-928731936AB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11239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493A54F1-064D-40D7-9E0E-26B97B0B1E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20306F8-5D96-43D3-BD37-1132F54C94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35565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728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500380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5077854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988736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6370638"/>
            <a:ext cx="5849938" cy="2519362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B10BCBAE-C569-48CA-889B-B812E521E8C5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21FF0AF8-9F52-48D7-B981-0F6B8C675AC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150F6B6D-78FA-41F8-AE49-6978C84FC7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28" name="Tekstfelt 27">
            <a:extLst>
              <a:ext uri="{FF2B5EF4-FFF2-40B4-BE49-F238E27FC236}">
                <a16:creationId xmlns:a16="http://schemas.microsoft.com/office/drawing/2014/main" id="{3FFB0F68-25CE-4848-8197-D3E79E2AA011}"/>
              </a:ext>
            </a:extLst>
          </p:cNvPr>
          <p:cNvSpPr txBox="1"/>
          <p:nvPr userDrawn="1"/>
        </p:nvSpPr>
        <p:spPr>
          <a:xfrm>
            <a:off x="7055626" y="15235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29" name="Billede 28">
            <a:extLst>
              <a:ext uri="{FF2B5EF4-FFF2-40B4-BE49-F238E27FC236}">
                <a16:creationId xmlns:a16="http://schemas.microsoft.com/office/drawing/2014/main" id="{1E6CE144-E233-4F7B-889A-4F1F0C047B5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20552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CD5B7369-6B23-4C3E-B107-D5C40F15A40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02BD18F-5639-4CAE-AA7A-39836FD1BE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675795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C1739A-A5B6-401B-A7BA-1BEF18E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30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C1739A-A5B6-401B-A7BA-1BEF18E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DE3FD8C8-F1AE-45BC-8CAF-C99EBA959C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0038" y="4256852"/>
            <a:ext cx="5849938" cy="4494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ED2FCF7-4EBD-4161-99A9-81E5CDC53F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038" y="8834326"/>
            <a:ext cx="2928937" cy="5699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Skriv billedtekst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6ED8BC2-CCC0-42BF-8BC0-5D4DFFC260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038" y="502320"/>
            <a:ext cx="2928938" cy="338138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660380" indent="0">
              <a:buNone/>
              <a:defRPr/>
            </a:lvl2pPr>
            <a:lvl3pPr marL="1320759" indent="0">
              <a:buNone/>
              <a:defRPr/>
            </a:lvl3pPr>
            <a:lvl4pPr marL="1981139" indent="0">
              <a:buNone/>
              <a:defRPr/>
            </a:lvl4pPr>
            <a:lvl5pPr marL="264151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414E84E3-172D-46FA-B362-304CBC42E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038" y="884222"/>
            <a:ext cx="5849938" cy="2724108"/>
          </a:xfrm>
        </p:spPr>
        <p:txBody>
          <a:bodyPr numCol="2" spcCol="504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442B906-2A5A-4DBF-A76D-49048425EA14}"/>
              </a:ext>
            </a:extLst>
          </p:cNvPr>
          <p:cNvSpPr txBox="1"/>
          <p:nvPr userDrawn="1"/>
        </p:nvSpPr>
        <p:spPr>
          <a:xfrm>
            <a:off x="70556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A527A158-5FEE-4787-95F8-73F8B1496F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1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EEBB8D1D-D041-4F84-98E0-D40F4BB6ECA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6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18C0437D-0903-482A-B7A1-E94EA4E7CA8C}"/>
              </a:ext>
            </a:extLst>
          </p:cNvPr>
          <p:cNvSpPr txBox="1"/>
          <p:nvPr userDrawn="1"/>
        </p:nvSpPr>
        <p:spPr>
          <a:xfrm>
            <a:off x="7055626" y="42794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4C24EEA2-A8BF-44AA-93AF-0C6D5C1D12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60" y="48111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50914E9-9393-496D-B9CF-908EEB0100B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A288459-8796-4BE8-8C52-F856FA77785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466984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oleObject" Target="../embeddings/oleObject19.bin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vmlDrawing" Target="../drawings/vmlDrawing19.v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238CFF1-0063-4A2B-B1DE-C1752EE0E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674849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1" imgW="378" imgH="379" progId="TCLayout.ActiveDocument.1">
                  <p:embed/>
                </p:oleObj>
              </mc:Choice>
              <mc:Fallback>
                <p:oleObj name="think-cell Slide" r:id="rId21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238CFF1-0063-4A2B-B1DE-C1752EE0E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292CD6C-EB9B-4664-8A14-60837D2BE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504950"/>
            <a:ext cx="5849938" cy="1520825"/>
          </a:xfrm>
          <a:prstGeom prst="rect">
            <a:avLst/>
          </a:prstGeom>
        </p:spPr>
        <p:txBody>
          <a:bodyPr vert="horz" lIns="0" tIns="0" rIns="0" bIns="4572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008410E-C889-4328-A904-15EA9F51B9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1" y="4989513"/>
            <a:ext cx="5837237" cy="3398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3C29153-9367-4577-8605-8FB164153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30625" y="9398879"/>
            <a:ext cx="2314575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C6B3932-1F52-4FB7-A746-145DAF2870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45200" y="9399587"/>
            <a:ext cx="300038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C6A00974-7166-43A5-AF41-84C9F08FD799}"/>
              </a:ext>
            </a:extLst>
          </p:cNvPr>
          <p:cNvSpPr/>
          <p:nvPr userDrawn="1"/>
        </p:nvSpPr>
        <p:spPr>
          <a:xfrm>
            <a:off x="0" y="-343"/>
            <a:ext cx="6858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DAF5C66-8D97-4BFA-85A2-E41557190F7D}"/>
              </a:ext>
            </a:extLst>
          </p:cNvPr>
          <p:cNvSpPr/>
          <p:nvPr userDrawn="1"/>
        </p:nvSpPr>
        <p:spPr>
          <a:xfrm>
            <a:off x="0" y="9664357"/>
            <a:ext cx="6858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1EA93311-A444-448B-B830-35D1BC42EDE2}"/>
              </a:ext>
            </a:extLst>
          </p:cNvPr>
          <p:cNvSpPr/>
          <p:nvPr userDrawn="1"/>
        </p:nvSpPr>
        <p:spPr>
          <a:xfrm rot="16200000">
            <a:off x="-4825175" y="4827657"/>
            <a:ext cx="9900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70F0F3EB-500E-402B-A430-AF025DB7612D}"/>
              </a:ext>
            </a:extLst>
          </p:cNvPr>
          <p:cNvSpPr/>
          <p:nvPr userDrawn="1"/>
        </p:nvSpPr>
        <p:spPr>
          <a:xfrm rot="16200000">
            <a:off x="1777475" y="4831773"/>
            <a:ext cx="9900000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66E521CB-EF64-4C96-86B8-F4C3ED4CFD42}"/>
              </a:ext>
            </a:extLst>
          </p:cNvPr>
          <p:cNvSpPr txBox="1"/>
          <p:nvPr userDrawn="1"/>
        </p:nvSpPr>
        <p:spPr>
          <a:xfrm rot="16200000">
            <a:off x="-633122" y="418078"/>
            <a:ext cx="978799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Print Selv</a:t>
            </a:r>
          </a:p>
        </p:txBody>
      </p:sp>
    </p:spTree>
    <p:extLst>
      <p:ext uri="{BB962C8B-B14F-4D97-AF65-F5344CB8AC3E}">
        <p14:creationId xmlns:p14="http://schemas.microsoft.com/office/powerpoint/2010/main" val="23322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93" r:id="rId11"/>
    <p:sldLayoutId id="2147483711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hf hdr="0" ftr="0" dt="0"/>
  <p:txStyles>
    <p:titleStyle>
      <a:lvl1pPr algn="l" defTabSz="1320759" rtl="0" eaLnBrk="1" latinLnBrk="0" hangingPunct="1">
        <a:lnSpc>
          <a:spcPts val="4200"/>
        </a:lnSpc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019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165094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231132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297170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363208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246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284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3227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38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75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13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51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189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7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265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3037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43">
          <p15:clr>
            <a:srgbClr val="F26B43"/>
          </p15:clr>
        </p15:guide>
        <p15:guide id="2" pos="2160">
          <p15:clr>
            <a:srgbClr val="F26B43"/>
          </p15:clr>
        </p15:guide>
        <p15:guide id="3" pos="2001">
          <p15:clr>
            <a:srgbClr val="F26B43"/>
          </p15:clr>
        </p15:guide>
        <p15:guide id="4" pos="2319">
          <p15:clr>
            <a:srgbClr val="F26B43"/>
          </p15:clr>
        </p15:guide>
        <p15:guide id="5" pos="1363">
          <p15:clr>
            <a:srgbClr val="F26B43"/>
          </p15:clr>
        </p15:guide>
        <p15:guide id="6" pos="2636">
          <p15:clr>
            <a:srgbClr val="F26B43"/>
          </p15:clr>
        </p15:guide>
        <p15:guide id="7" pos="2954">
          <p15:clr>
            <a:srgbClr val="F26B43"/>
          </p15:clr>
        </p15:guide>
        <p15:guide id="8" pos="3271">
          <p15:clr>
            <a:srgbClr val="F26B43"/>
          </p15:clr>
        </p15:guide>
        <p15:guide id="9" pos="1661" userDrawn="1">
          <p15:clr>
            <a:srgbClr val="F26B43"/>
          </p15:clr>
        </p15:guide>
        <p15:guide id="10" pos="1042">
          <p15:clr>
            <a:srgbClr val="F26B43"/>
          </p15:clr>
        </p15:guide>
        <p15:guide id="11" pos="312">
          <p15:clr>
            <a:srgbClr val="F26B43"/>
          </p15:clr>
        </p15:guide>
        <p15:guide id="12" pos="158">
          <p15:clr>
            <a:srgbClr val="F26B43"/>
          </p15:clr>
        </p15:guide>
        <p15:guide id="13" pos="3997">
          <p15:clr>
            <a:srgbClr val="F26B43"/>
          </p15:clr>
        </p15:guide>
        <p15:guide id="14" pos="4156">
          <p15:clr>
            <a:srgbClr val="F26B43"/>
          </p15:clr>
        </p15:guide>
        <p15:guide id="15" orient="horz" pos="158">
          <p15:clr>
            <a:srgbClr val="F26B43"/>
          </p15:clr>
        </p15:guide>
        <p15:guide id="16" orient="horz" pos="312">
          <p15:clr>
            <a:srgbClr val="F26B43"/>
          </p15:clr>
        </p15:guide>
        <p15:guide id="17" orient="horz" pos="951">
          <p15:clr>
            <a:srgbClr val="F26B43"/>
          </p15:clr>
        </p15:guide>
        <p15:guide id="18" orient="horz" pos="1589">
          <p15:clr>
            <a:srgbClr val="F26B43"/>
          </p15:clr>
        </p15:guide>
        <p15:guide id="19" orient="horz" pos="1906">
          <p15:clr>
            <a:srgbClr val="F26B43"/>
          </p15:clr>
        </p15:guide>
        <p15:guide id="20" orient="horz" pos="5920">
          <p15:clr>
            <a:srgbClr val="F26B43"/>
          </p15:clr>
        </p15:guide>
        <p15:guide id="21" orient="horz" pos="5600">
          <p15:clr>
            <a:srgbClr val="F26B43"/>
          </p15:clr>
        </p15:guide>
        <p15:guide id="22" orient="horz" pos="5284">
          <p15:clr>
            <a:srgbClr val="F26B43"/>
          </p15:clr>
        </p15:guide>
        <p15:guide id="23" orient="horz" pos="4644">
          <p15:clr>
            <a:srgbClr val="F26B43"/>
          </p15:clr>
        </p15:guide>
        <p15:guide id="24" orient="horz" pos="630">
          <p15:clr>
            <a:srgbClr val="F26B43"/>
          </p15:clr>
        </p15:guide>
        <p15:guide id="25" orient="horz" pos="4326">
          <p15:clr>
            <a:srgbClr val="F26B43"/>
          </p15:clr>
        </p15:guide>
        <p15:guide id="26" orient="horz" pos="400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238CFF1-0063-4A2B-B1DE-C1752EE0E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1358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21" imgW="378" imgH="379" progId="TCLayout.ActiveDocument.1">
                  <p:embed/>
                </p:oleObj>
              </mc:Choice>
              <mc:Fallback>
                <p:oleObj name="think-cell Slide" r:id="rId21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238CFF1-0063-4A2B-B1DE-C1752EE0E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292CD6C-EB9B-4664-8A14-60837D2BE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504950"/>
            <a:ext cx="5849938" cy="1520825"/>
          </a:xfrm>
          <a:prstGeom prst="rect">
            <a:avLst/>
          </a:prstGeom>
        </p:spPr>
        <p:txBody>
          <a:bodyPr vert="horz" lIns="0" tIns="0" rIns="0" bIns="4572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008410E-C889-4328-A904-15EA9F51B9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1" y="4989513"/>
            <a:ext cx="5837237" cy="3398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3C29153-9367-4577-8605-8FB164153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30625" y="9398879"/>
            <a:ext cx="2314575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C6B3932-1F52-4FB7-A746-145DAF2870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45200" y="9399587"/>
            <a:ext cx="300038" cy="2166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BBD1FEF8-A007-4294-972C-83A0C78BA6F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8C680134-6276-40D7-902A-F9AB97D60F84}"/>
              </a:ext>
            </a:extLst>
          </p:cNvPr>
          <p:cNvSpPr txBox="1"/>
          <p:nvPr userDrawn="1"/>
        </p:nvSpPr>
        <p:spPr>
          <a:xfrm rot="16200000">
            <a:off x="-582152" y="357836"/>
            <a:ext cx="876857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Til tryk</a:t>
            </a:r>
          </a:p>
        </p:txBody>
      </p:sp>
    </p:spTree>
    <p:extLst>
      <p:ext uri="{BB962C8B-B14F-4D97-AF65-F5344CB8AC3E}">
        <p14:creationId xmlns:p14="http://schemas.microsoft.com/office/powerpoint/2010/main" val="390078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12" r:id="rId12"/>
    <p:sldLayoutId id="2147483706" r:id="rId13"/>
    <p:sldLayoutId id="2147483707" r:id="rId14"/>
    <p:sldLayoutId id="2147483708" r:id="rId15"/>
    <p:sldLayoutId id="2147483709" r:id="rId16"/>
    <p:sldLayoutId id="2147483710" r:id="rId17"/>
  </p:sldLayoutIdLst>
  <p:hf hdr="0" ftr="0" dt="0"/>
  <p:txStyles>
    <p:titleStyle>
      <a:lvl1pPr algn="l" defTabSz="1320759" rtl="0" eaLnBrk="1" latinLnBrk="0" hangingPunct="1">
        <a:lnSpc>
          <a:spcPts val="4200"/>
        </a:lnSpc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019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0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165094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231132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2971709" indent="-330190" algn="l" defTabSz="1320759" rtl="0" eaLnBrk="1" latinLnBrk="0" hangingPunct="1">
        <a:lnSpc>
          <a:spcPts val="14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363208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246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284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3227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38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75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13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51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189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7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265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3037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43">
          <p15:clr>
            <a:srgbClr val="F26B43"/>
          </p15:clr>
        </p15:guide>
        <p15:guide id="2" pos="2160">
          <p15:clr>
            <a:srgbClr val="F26B43"/>
          </p15:clr>
        </p15:guide>
        <p15:guide id="3" pos="2001">
          <p15:clr>
            <a:srgbClr val="F26B43"/>
          </p15:clr>
        </p15:guide>
        <p15:guide id="4" pos="2319">
          <p15:clr>
            <a:srgbClr val="F26B43"/>
          </p15:clr>
        </p15:guide>
        <p15:guide id="5" pos="1363">
          <p15:clr>
            <a:srgbClr val="F26B43"/>
          </p15:clr>
        </p15:guide>
        <p15:guide id="6" pos="2636">
          <p15:clr>
            <a:srgbClr val="F26B43"/>
          </p15:clr>
        </p15:guide>
        <p15:guide id="7" pos="2954">
          <p15:clr>
            <a:srgbClr val="F26B43"/>
          </p15:clr>
        </p15:guide>
        <p15:guide id="8" pos="3271">
          <p15:clr>
            <a:srgbClr val="F26B43"/>
          </p15:clr>
        </p15:guide>
        <p15:guide id="9" pos="1661" userDrawn="1">
          <p15:clr>
            <a:srgbClr val="F26B43"/>
          </p15:clr>
        </p15:guide>
        <p15:guide id="10" pos="1042">
          <p15:clr>
            <a:srgbClr val="F26B43"/>
          </p15:clr>
        </p15:guide>
        <p15:guide id="11" pos="312">
          <p15:clr>
            <a:srgbClr val="F26B43"/>
          </p15:clr>
        </p15:guide>
        <p15:guide id="12" pos="158">
          <p15:clr>
            <a:srgbClr val="F26B43"/>
          </p15:clr>
        </p15:guide>
        <p15:guide id="13" pos="3997">
          <p15:clr>
            <a:srgbClr val="F26B43"/>
          </p15:clr>
        </p15:guide>
        <p15:guide id="14" pos="4156">
          <p15:clr>
            <a:srgbClr val="F26B43"/>
          </p15:clr>
        </p15:guide>
        <p15:guide id="15" orient="horz" pos="158">
          <p15:clr>
            <a:srgbClr val="F26B43"/>
          </p15:clr>
        </p15:guide>
        <p15:guide id="16" orient="horz" pos="312">
          <p15:clr>
            <a:srgbClr val="F26B43"/>
          </p15:clr>
        </p15:guide>
        <p15:guide id="17" orient="horz" pos="951">
          <p15:clr>
            <a:srgbClr val="F26B43"/>
          </p15:clr>
        </p15:guide>
        <p15:guide id="18" orient="horz" pos="1589">
          <p15:clr>
            <a:srgbClr val="F26B43"/>
          </p15:clr>
        </p15:guide>
        <p15:guide id="19" orient="horz" pos="1906">
          <p15:clr>
            <a:srgbClr val="F26B43"/>
          </p15:clr>
        </p15:guide>
        <p15:guide id="20" orient="horz" pos="5920">
          <p15:clr>
            <a:srgbClr val="F26B43"/>
          </p15:clr>
        </p15:guide>
        <p15:guide id="21" orient="horz" pos="5600">
          <p15:clr>
            <a:srgbClr val="F26B43"/>
          </p15:clr>
        </p15:guide>
        <p15:guide id="22" orient="horz" pos="5284">
          <p15:clr>
            <a:srgbClr val="F26B43"/>
          </p15:clr>
        </p15:guide>
        <p15:guide id="23" orient="horz" pos="4644">
          <p15:clr>
            <a:srgbClr val="F26B43"/>
          </p15:clr>
        </p15:guide>
        <p15:guide id="24" orient="horz" pos="630">
          <p15:clr>
            <a:srgbClr val="F26B43"/>
          </p15:clr>
        </p15:guide>
        <p15:guide id="25" orient="horz" pos="4326">
          <p15:clr>
            <a:srgbClr val="F26B43"/>
          </p15:clr>
        </p15:guide>
        <p15:guide id="26" orient="horz" pos="400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B0432B5-4878-4BF2-BF2E-3ED454A21B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99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3">
            <a:extLst>
              <a:ext uri="{FF2B5EF4-FFF2-40B4-BE49-F238E27FC236}">
                <a16:creationId xmlns:a16="http://schemas.microsoft.com/office/drawing/2014/main" id="{6B84E4C7-C93D-4E37-AF2F-CCB4ACBA2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En bedre hverdag med kræft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FBC7E40-5CAA-4E08-9543-6CEE947DF6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#alle tiders Roskilde</a:t>
            </a:r>
          </a:p>
        </p:txBody>
      </p:sp>
      <p:sp>
        <p:nvSpPr>
          <p:cNvPr id="15" name="Pladsholder til tekst 14">
            <a:extLst>
              <a:ext uri="{FF2B5EF4-FFF2-40B4-BE49-F238E27FC236}">
                <a16:creationId xmlns:a16="http://schemas.microsoft.com/office/drawing/2014/main" id="{E5342F7C-C272-418C-A8AE-89D66420F0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 smtClean="0"/>
              <a:t>Til dig der har eller har haft kræft.</a:t>
            </a:r>
            <a:endParaRPr lang="da-DK" dirty="0"/>
          </a:p>
        </p:txBody>
      </p:sp>
      <p:pic>
        <p:nvPicPr>
          <p:cNvPr id="37895" name="Picture 7" descr="Det levende træ - Forløb - Natur/teknologi indskoling - Alinea"/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73" b="30273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6086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B26DEDCB-493A-4621-B62C-CC5DBDD5CEF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6045200" y="9399587"/>
            <a:ext cx="300038" cy="216605"/>
          </a:xfrm>
        </p:spPr>
        <p:txBody>
          <a:bodyPr/>
          <a:lstStyle/>
          <a:p>
            <a:fld id="{BBD1FEF8-A007-4294-972C-83A0C78BA6FF}" type="slidenum">
              <a:rPr lang="da-DK" smtClean="0"/>
              <a:pPr/>
              <a:t>2</a:t>
            </a:fld>
            <a:endParaRPr lang="da-DK"/>
          </a:p>
        </p:txBody>
      </p:sp>
      <p:pic>
        <p:nvPicPr>
          <p:cNvPr id="2" name="Pladsholder til billede 1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8" r="1188"/>
          <a:stretch>
            <a:fillRect/>
          </a:stretch>
        </p:blipFill>
        <p:spPr/>
      </p:pic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CF6E8F00-F153-4235-8F78-D214ABA4D6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 smtClean="0"/>
              <a:t>Udetræning med kræft hold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9B9FD10A-5329-477D-B888-8DA7E53639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5C58E9D8-EB3F-441B-95B5-D70114A538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sz="1200" dirty="0"/>
              <a:t>Træning og Sundhed har en række tilbud til dig, som har eller har haft kræft. Vi kan hjælpe og støtte dig før, under og efter dit sygdomsforløb.</a:t>
            </a:r>
          </a:p>
          <a:p>
            <a:r>
              <a:rPr lang="da-DK" sz="1200" dirty="0"/>
              <a:t>Du kan blandt andet</a:t>
            </a:r>
            <a:r>
              <a:rPr lang="da-DK" sz="1200" dirty="0" smtClean="0"/>
              <a:t>:</a:t>
            </a:r>
          </a:p>
          <a:p>
            <a:r>
              <a:rPr lang="da-DK" sz="1200" dirty="0" smtClean="0"/>
              <a:t> </a:t>
            </a:r>
            <a:endParaRPr lang="da-DK" sz="1200" dirty="0"/>
          </a:p>
          <a:p>
            <a:r>
              <a:rPr lang="da-DK" sz="1200" dirty="0"/>
              <a:t>•få viden og vejledning af vores kræftkoordinator.</a:t>
            </a:r>
          </a:p>
          <a:p>
            <a:r>
              <a:rPr lang="da-DK" sz="1200" dirty="0"/>
              <a:t>•træne på hold, hvis du har brug for genoptræning under eller efter din behandling. </a:t>
            </a:r>
          </a:p>
          <a:p>
            <a:r>
              <a:rPr lang="da-DK" sz="1200" dirty="0"/>
              <a:t>•få vejledning om motion.</a:t>
            </a:r>
          </a:p>
          <a:p>
            <a:r>
              <a:rPr lang="da-DK" sz="1200" dirty="0"/>
              <a:t>•komme på Kræftcafe og møde andre i samme situation.</a:t>
            </a:r>
          </a:p>
          <a:p>
            <a:endParaRPr lang="da-DK" sz="1200" dirty="0"/>
          </a:p>
          <a:p>
            <a:r>
              <a:rPr lang="da-DK" sz="1200" dirty="0"/>
              <a:t>For at finde det bedste tilbud til dig, kan du komme til en samtale med vores kræftkoordinator. Du er velkommen til at tage en pårørende med. </a:t>
            </a:r>
          </a:p>
          <a:p>
            <a:endParaRPr lang="da-DK" sz="1200" dirty="0" smtClean="0"/>
          </a:p>
          <a:p>
            <a:r>
              <a:rPr lang="da-DK" sz="1200" dirty="0" smtClean="0"/>
              <a:t>Vi </a:t>
            </a:r>
            <a:r>
              <a:rPr lang="da-DK" sz="1200" dirty="0"/>
              <a:t>samarbejder med sygehuse, læger, Kræftens Bekæmpelse og medarbejdere i kommunen. Dette gør vi for at sikre dig et sammenhængende forløb</a:t>
            </a:r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426618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04B0EE6-F23C-4351-B2B8-D11CA67EC0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4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E44FA5E4-3426-4380-8B27-2D37F72C4C6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6045200" y="9399587"/>
            <a:ext cx="300038" cy="216605"/>
          </a:xfrm>
        </p:spPr>
        <p:txBody>
          <a:bodyPr/>
          <a:lstStyle/>
          <a:p>
            <a:fld id="{BBD1FEF8-A007-4294-972C-83A0C78BA6FF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2B546E58-FC43-4738-9E63-F2DFB36CDD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5CCED09F-3EF5-4212-82DD-7FEE777DED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b="1" dirty="0"/>
              <a:t>Træning for kræftramte </a:t>
            </a:r>
            <a:endParaRPr lang="da-DK" dirty="0"/>
          </a:p>
          <a:p>
            <a:r>
              <a:rPr lang="da-DK" dirty="0"/>
              <a:t>Du kan komme til genoptræning, mens du er i behandling for kræft eller lige efter. Træningen er med til at styrke immunforsvaret og kan mindske træthed og bivirkninger fra behandlingerne. </a:t>
            </a:r>
          </a:p>
          <a:p>
            <a:r>
              <a:rPr lang="da-DK" dirty="0"/>
              <a:t>Vi planlægger træningen efter dit niveau. Vi tilbyder både holdtræning og individuel træning (</a:t>
            </a:r>
            <a:r>
              <a:rPr lang="da-DK" i="1" dirty="0"/>
              <a:t>dette kræver en genoptræningsplan fra sygehuset). </a:t>
            </a:r>
            <a:r>
              <a:rPr lang="da-DK" dirty="0"/>
              <a:t>Du kan blive henvist fra dit behandlende sygehus eller kræftkoordinatoren i kommunen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r>
              <a:rPr lang="da-DK" b="1" dirty="0"/>
              <a:t>Kræftcafé</a:t>
            </a:r>
            <a:endParaRPr lang="da-DK" dirty="0"/>
          </a:p>
          <a:p>
            <a:r>
              <a:rPr lang="da-DK" dirty="0"/>
              <a:t>På vores Kræftcafe snakker vi om forskellige emner relateret til kræft. Det kan fx være om kost, træning, familielivet og </a:t>
            </a:r>
            <a:r>
              <a:rPr lang="da-DK" dirty="0" smtClean="0"/>
              <a:t>fremtiden. </a:t>
            </a:r>
            <a:r>
              <a:rPr lang="da-DK" dirty="0"/>
              <a:t>Her kan du møde andre i samme situation, udveksle erfaringer og danne netværk.  </a:t>
            </a:r>
            <a:endParaRPr lang="da-DK" dirty="0" smtClean="0"/>
          </a:p>
          <a:p>
            <a:endParaRPr lang="da-DK" dirty="0"/>
          </a:p>
          <a:p>
            <a:r>
              <a:rPr lang="da-DK" b="1" dirty="0"/>
              <a:t>Motionsvejledning </a:t>
            </a:r>
            <a:endParaRPr lang="da-DK" dirty="0"/>
          </a:p>
          <a:p>
            <a:r>
              <a:rPr lang="da-DK" dirty="0"/>
              <a:t>Få hjælp og vejledning til at komme i gang med motion efter et kræftforløb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r>
              <a:rPr lang="da-DK" b="1" dirty="0"/>
              <a:t>Kostvejledning</a:t>
            </a:r>
            <a:endParaRPr lang="da-DK" dirty="0"/>
          </a:p>
          <a:p>
            <a:r>
              <a:rPr lang="da-DK" dirty="0"/>
              <a:t>Et tilbud til dig, hvor du får vejledning i, hvordan du kan sammensætte din mad i forhold til din sygdom, samt hvis du ønsker at tabe dig, øge vægten eller undgå vægttab. Vi tager udgangspunkt i din hverdag, hvor vi sammen finder frem til de vaner, som er vigtige og relevante for dig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r>
              <a:rPr lang="da-DK" b="1" dirty="0"/>
              <a:t>Vil du vide mere eller tilmelde dig? </a:t>
            </a:r>
            <a:endParaRPr lang="da-DK" dirty="0"/>
          </a:p>
          <a:p>
            <a:r>
              <a:rPr lang="da-DK" dirty="0"/>
              <a:t>Du kan kontakte Træning og Sundhed på telefon 46 31 77 02 eller skrive en mail til sundhedforalle@roskilde.dk</a:t>
            </a:r>
          </a:p>
          <a:p>
            <a:r>
              <a:rPr lang="da-DK" i="1" dirty="0"/>
              <a:t>Husk at skrive dit telefonnummer, så vi kan ringe tilbage til dig. </a:t>
            </a:r>
            <a:endParaRPr lang="da-DK" dirty="0"/>
          </a:p>
          <a:p>
            <a:r>
              <a:rPr lang="da-DK" dirty="0"/>
              <a:t>Du kan også læse mere på roskilde.dk/kræft</a:t>
            </a:r>
          </a:p>
        </p:txBody>
      </p:sp>
    </p:spTree>
    <p:extLst>
      <p:ext uri="{BB962C8B-B14F-4D97-AF65-F5344CB8AC3E}">
        <p14:creationId xmlns:p14="http://schemas.microsoft.com/office/powerpoint/2010/main" val="3760461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4D62FA73-7BC9-4356-B753-663E4C9AFE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#alle tiders Roskild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D9CDD5E-16D3-4B30-9DF5-92127E4F5B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Rådhusbuen 1</a:t>
            </a:r>
          </a:p>
          <a:p>
            <a:r>
              <a:rPr lang="da-DK" dirty="0"/>
              <a:t>4000 Roskilde</a:t>
            </a:r>
          </a:p>
          <a:p>
            <a:r>
              <a:rPr lang="da-DK" dirty="0"/>
              <a:t>Telefon: 46 31 </a:t>
            </a:r>
            <a:r>
              <a:rPr lang="da-DK" dirty="0" smtClean="0"/>
              <a:t>77 02</a:t>
            </a:r>
            <a:endParaRPr lang="da-DK" dirty="0"/>
          </a:p>
          <a:p>
            <a:r>
              <a:rPr lang="da-DK" dirty="0" err="1"/>
              <a:t>Email</a:t>
            </a:r>
            <a:r>
              <a:rPr lang="da-DK" dirty="0"/>
              <a:t>: xxxxxxxxx@roskilde.dk</a:t>
            </a:r>
          </a:p>
          <a:p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AA29F3F-C797-4231-A55D-9FD2709648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65303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4 pjece - Print selv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4 Pjece" id="{389916E7-C4D5-42A3-9351-4634DD4B0B1B}" vid="{1695D10B-61AC-440B-A0DF-5BD999935B45}"/>
    </a:ext>
  </a:extLst>
</a:theme>
</file>

<file path=ppt/theme/theme2.xml><?xml version="1.0" encoding="utf-8"?>
<a:theme xmlns:a="http://schemas.openxmlformats.org/drawingml/2006/main" name="A4 pjece - Til tryk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4 Pjece" id="{389916E7-C4D5-42A3-9351-4634DD4B0B1B}" vid="{1241C170-388E-42C5-9244-9164F0402140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4 Pjece</Template>
  <TotalTime>74</TotalTime>
  <Words>412</Words>
  <Application>Microsoft Office PowerPoint</Application>
  <PresentationFormat>A4-papir (210 x 297 mm)</PresentationFormat>
  <Paragraphs>39</Paragraphs>
  <Slides>4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</vt:i4>
      </vt:variant>
    </vt:vector>
  </HeadingPairs>
  <TitlesOfParts>
    <vt:vector size="14" baseType="lpstr">
      <vt:lpstr>Aleo</vt:lpstr>
      <vt:lpstr>Arial</vt:lpstr>
      <vt:lpstr>Calibri</vt:lpstr>
      <vt:lpstr>Montserrat</vt:lpstr>
      <vt:lpstr>Montserrat Bold</vt:lpstr>
      <vt:lpstr>Montserrat Medium</vt:lpstr>
      <vt:lpstr>Montserrat SemiBold</vt:lpstr>
      <vt:lpstr>A4 pjece - Print selv</vt:lpstr>
      <vt:lpstr>A4 pjece - Til tryk</vt:lpstr>
      <vt:lpstr>think-cell Slide</vt:lpstr>
      <vt:lpstr>En bedre hverdag med kræft</vt:lpstr>
      <vt:lpstr>PowerPoint-præsentation</vt:lpstr>
      <vt:lpstr>PowerPoint-præsentation</vt:lpstr>
      <vt:lpstr>PowerPoint-præsentation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 bedre hverdag med kræft</dc:title>
  <dc:creator>Rikke Poulsen</dc:creator>
  <cp:lastModifiedBy>Rikke Poulsen</cp:lastModifiedBy>
  <cp:revision>5</cp:revision>
  <cp:lastPrinted>2025-05-13T10:44:40Z</cp:lastPrinted>
  <dcterms:created xsi:type="dcterms:W3CDTF">2025-05-13T09:47:17Z</dcterms:created>
  <dcterms:modified xsi:type="dcterms:W3CDTF">2025-05-13T12:35:05Z</dcterms:modified>
</cp:coreProperties>
</file>